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sldIdLst>
    <p:sldId id="259" r:id="rId3"/>
    <p:sldId id="278" r:id="rId4"/>
    <p:sldId id="282" r:id="rId5"/>
    <p:sldId id="281" r:id="rId6"/>
    <p:sldId id="279" r:id="rId7"/>
    <p:sldId id="264" r:id="rId8"/>
    <p:sldId id="276" r:id="rId9"/>
    <p:sldId id="268" r:id="rId10"/>
    <p:sldId id="280" r:id="rId11"/>
    <p:sldId id="263" r:id="rId12"/>
  </p:sldIdLst>
  <p:sldSz cx="10058400" cy="5665788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7071"/>
    <a:srgbClr val="B6B6B6"/>
    <a:srgbClr val="009FE7"/>
    <a:srgbClr val="4DBDEF"/>
    <a:srgbClr val="4EBBF1"/>
    <a:srgbClr val="4FBCED"/>
    <a:srgbClr val="9BD8F3"/>
    <a:srgbClr val="717171"/>
    <a:srgbClr val="029FEB"/>
    <a:srgbClr val="4EBC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6413" y="1553150"/>
            <a:ext cx="8675370" cy="1095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96412" y="3192455"/>
            <a:ext cx="5442487" cy="90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dirty="0" smtClean="0"/>
              <a:t>正文文本</a:t>
            </a:r>
          </a:p>
        </p:txBody>
      </p:sp>
    </p:spTree>
    <p:extLst>
      <p:ext uri="{BB962C8B-B14F-4D97-AF65-F5344CB8AC3E}">
        <p14:creationId xmlns:p14="http://schemas.microsoft.com/office/powerpoint/2010/main" val="42787057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77719"/>
            <a:ext cx="3244096" cy="1322017"/>
          </a:xfrm>
          <a:prstGeom prst="rect">
            <a:avLst/>
          </a:prstGeom>
        </p:spPr>
        <p:txBody>
          <a:bodyPr anchor="b"/>
          <a:lstStyle>
            <a:lvl1pPr>
              <a:defRPr sz="264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815769"/>
            <a:ext cx="5092065" cy="402638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40"/>
            </a:lvl1pPr>
            <a:lvl2pPr marL="377190" indent="0">
              <a:buNone/>
              <a:defRPr sz="2310"/>
            </a:lvl2pPr>
            <a:lvl3pPr marL="754380" indent="0">
              <a:buNone/>
              <a:defRPr sz="1980"/>
            </a:lvl3pPr>
            <a:lvl4pPr marL="1131570" indent="0">
              <a:buNone/>
              <a:defRPr sz="1650"/>
            </a:lvl4pPr>
            <a:lvl5pPr marL="1508760" indent="0">
              <a:buNone/>
              <a:defRPr sz="1650"/>
            </a:lvl5pPr>
            <a:lvl6pPr marL="1885950" indent="0">
              <a:buNone/>
              <a:defRPr sz="1650"/>
            </a:lvl6pPr>
            <a:lvl7pPr marL="2263140" indent="0">
              <a:buNone/>
              <a:defRPr sz="1650"/>
            </a:lvl7pPr>
            <a:lvl8pPr marL="2640330" indent="0">
              <a:buNone/>
              <a:defRPr sz="1650"/>
            </a:lvl8pPr>
            <a:lvl9pPr marL="3017520" indent="0">
              <a:buNone/>
              <a:defRPr sz="165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1699736"/>
            <a:ext cx="3244096" cy="3148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0"/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1819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1508254"/>
            <a:ext cx="8675370" cy="359489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70606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2" y="301651"/>
            <a:ext cx="2168843" cy="4801493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301651"/>
            <a:ext cx="6380798" cy="480149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4528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PBand0"/>
          <p:cNvSpPr>
            <a:spLocks noGrp="1" noChangeArrowheads="1"/>
          </p:cNvSpPr>
          <p:nvPr>
            <p:ph type="ctrTitle"/>
          </p:nvPr>
        </p:nvSpPr>
        <p:spPr>
          <a:xfrm>
            <a:off x="1147287" y="3836211"/>
            <a:ext cx="7889558" cy="477395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0" name="副标题 4"/>
          <p:cNvSpPr>
            <a:spLocks noGrp="1"/>
          </p:cNvSpPr>
          <p:nvPr>
            <p:ph type="subTitle" idx="4294967295"/>
          </p:nvPr>
        </p:nvSpPr>
        <p:spPr>
          <a:xfrm>
            <a:off x="1674655" y="4368690"/>
            <a:ext cx="6812121" cy="535102"/>
          </a:xfrm>
        </p:spPr>
        <p:txBody>
          <a:bodyPr/>
          <a:lstStyle/>
          <a:p>
            <a:r>
              <a:rPr lang="zh-CN" altLang="en-US" dirty="0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3292938551"/>
      </p:ext>
    </p:extLst>
  </p:cSld>
  <p:clrMapOvr>
    <a:masterClrMapping/>
  </p:clrMapOvr>
  <p:transition spd="slow">
    <p:pull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058D0963-2646-4D18-B262-DC7309B7E9CC}" type="datetimeFigureOut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2024/11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9025F-7D5C-4C37-AF36-3E07B230116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545096"/>
      </p:ext>
    </p:extLst>
  </p:cSld>
  <p:clrMapOvr>
    <a:masterClrMapping/>
  </p:clrMapOvr>
  <p:transition spd="slow">
    <p:pull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83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Verdana" pitchFamily="34" charset="0"/>
                <a:ea typeface="微软雅黑" pitchFamily="34" charset="-122"/>
              </a:defRPr>
            </a:lvl1pPr>
            <a:lvl2pPr>
              <a:defRPr baseline="0">
                <a:latin typeface="Verdana" pitchFamily="34" charset="0"/>
                <a:ea typeface="微软雅黑" pitchFamily="34" charset="-122"/>
              </a:defRPr>
            </a:lvl2pPr>
            <a:lvl3pPr>
              <a:defRPr sz="1487" baseline="0">
                <a:latin typeface="Verdana" pitchFamily="34" charset="0"/>
                <a:ea typeface="微软雅黑" pitchFamily="34" charset="-122"/>
              </a:defRPr>
            </a:lvl3pPr>
            <a:lvl4pPr>
              <a:defRPr baseline="0">
                <a:latin typeface="Verdana" pitchFamily="34" charset="0"/>
                <a:ea typeface="微软雅黑" pitchFamily="34" charset="-122"/>
              </a:defRPr>
            </a:lvl4pPr>
            <a:lvl5pPr>
              <a:defRPr baseline="0">
                <a:latin typeface="Verdana" pitchFamily="34" charset="0"/>
                <a:ea typeface="微软雅黑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6541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1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4400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058D0963-2646-4D18-B262-DC7309B7E9CC}" type="datetimeFigureOut">
              <a:rPr lang="zh-CN" altLang="en-US">
                <a:solidFill>
                  <a:prstClr val="black">
                    <a:tint val="75000"/>
                  </a:prstClr>
                </a:solidFill>
              </a:rPr>
              <a:pPr/>
              <a:t>2024/11/21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9025F-7D5C-4C37-AF36-3E07B230116D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854786"/>
      </p:ext>
    </p:extLst>
  </p:cSld>
  <p:clrMapOvr>
    <a:masterClrMapping/>
  </p:clrMapOvr>
  <p:transition spd="slow">
    <p:pull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4544" y="3640794"/>
            <a:ext cx="8549640" cy="1125288"/>
          </a:xfrm>
        </p:spPr>
        <p:txBody>
          <a:bodyPr anchor="t"/>
          <a:lstStyle>
            <a:lvl1pPr algn="l">
              <a:defRPr sz="3305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4544" y="2401403"/>
            <a:ext cx="8549640" cy="1239391"/>
          </a:xfrm>
        </p:spPr>
        <p:txBody>
          <a:bodyPr anchor="b"/>
          <a:lstStyle>
            <a:lvl1pPr marL="0" indent="0">
              <a:buNone/>
              <a:defRPr sz="1652"/>
            </a:lvl1pPr>
            <a:lvl2pPr marL="377739" indent="0">
              <a:buNone/>
              <a:defRPr sz="1487"/>
            </a:lvl2pPr>
            <a:lvl3pPr marL="755477" indent="0">
              <a:buNone/>
              <a:defRPr sz="1322"/>
            </a:lvl3pPr>
            <a:lvl4pPr marL="1133216" indent="0">
              <a:buNone/>
              <a:defRPr sz="1157"/>
            </a:lvl4pPr>
            <a:lvl5pPr marL="1510955" indent="0">
              <a:buNone/>
              <a:defRPr sz="1157"/>
            </a:lvl5pPr>
            <a:lvl6pPr marL="1888693" indent="0">
              <a:buNone/>
              <a:defRPr sz="1157"/>
            </a:lvl6pPr>
            <a:lvl7pPr marL="2266432" indent="0">
              <a:buNone/>
              <a:defRPr sz="1157"/>
            </a:lvl7pPr>
            <a:lvl8pPr marL="2644170" indent="0">
              <a:buNone/>
              <a:defRPr sz="1157"/>
            </a:lvl8pPr>
            <a:lvl9pPr marL="3021909" indent="0">
              <a:buNone/>
              <a:defRPr sz="115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958535"/>
      </p:ext>
    </p:extLst>
  </p:cSld>
  <p:clrMapOvr>
    <a:masterClrMapping/>
  </p:clrMapOvr>
  <p:transition spd="slow">
    <p:pull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41802" y="929872"/>
            <a:ext cx="4545488" cy="4401478"/>
          </a:xfrm>
        </p:spPr>
        <p:txBody>
          <a:bodyPr/>
          <a:lstStyle>
            <a:lvl1pPr>
              <a:defRPr sz="1983" baseline="0">
                <a:latin typeface="Verdana" pitchFamily="34" charset="0"/>
                <a:ea typeface="微软雅黑" pitchFamily="34" charset="-122"/>
              </a:defRPr>
            </a:lvl1pPr>
            <a:lvl2pPr>
              <a:defRPr sz="1652" baseline="0">
                <a:latin typeface="Verdana" pitchFamily="34" charset="0"/>
                <a:ea typeface="微软雅黑" pitchFamily="34" charset="-122"/>
              </a:defRPr>
            </a:lvl2pPr>
            <a:lvl3pPr>
              <a:defRPr sz="1487" baseline="0">
                <a:latin typeface="Verdana" pitchFamily="34" charset="0"/>
                <a:ea typeface="微软雅黑" pitchFamily="34" charset="-122"/>
              </a:defRPr>
            </a:lvl3pPr>
            <a:lvl4pPr>
              <a:defRPr sz="1322" baseline="0">
                <a:latin typeface="Verdana" pitchFamily="34" charset="0"/>
                <a:ea typeface="微软雅黑" pitchFamily="34" charset="-122"/>
              </a:defRPr>
            </a:lvl4pPr>
            <a:lvl5pPr>
              <a:defRPr sz="1322" baseline="0">
                <a:latin typeface="Verdana" pitchFamily="34" charset="0"/>
                <a:ea typeface="微软雅黑" pitchFamily="34" charset="-122"/>
              </a:defRPr>
            </a:lvl5pPr>
            <a:lvl6pPr>
              <a:defRPr sz="1487"/>
            </a:lvl6pPr>
            <a:lvl7pPr>
              <a:defRPr sz="1487"/>
            </a:lvl7pPr>
            <a:lvl8pPr>
              <a:defRPr sz="1487"/>
            </a:lvl8pPr>
            <a:lvl9pPr>
              <a:defRPr sz="148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154930" y="929872"/>
            <a:ext cx="4547235" cy="4401478"/>
          </a:xfrm>
        </p:spPr>
        <p:txBody>
          <a:bodyPr/>
          <a:lstStyle>
            <a:lvl1pPr>
              <a:defRPr sz="1983" baseline="0">
                <a:latin typeface="Verdana" pitchFamily="34" charset="0"/>
                <a:ea typeface="微软雅黑" pitchFamily="34" charset="-122"/>
              </a:defRPr>
            </a:lvl1pPr>
            <a:lvl2pPr>
              <a:defRPr sz="1652" baseline="0">
                <a:latin typeface="Verdana" pitchFamily="34" charset="0"/>
                <a:ea typeface="微软雅黑" pitchFamily="34" charset="-122"/>
              </a:defRPr>
            </a:lvl2pPr>
            <a:lvl3pPr>
              <a:defRPr sz="1487" baseline="0">
                <a:latin typeface="Verdana" pitchFamily="34" charset="0"/>
                <a:ea typeface="微软雅黑" pitchFamily="34" charset="-122"/>
              </a:defRPr>
            </a:lvl3pPr>
            <a:lvl4pPr>
              <a:defRPr sz="1322" baseline="0">
                <a:latin typeface="Verdana" pitchFamily="34" charset="0"/>
                <a:ea typeface="微软雅黑" pitchFamily="34" charset="-122"/>
              </a:defRPr>
            </a:lvl4pPr>
            <a:lvl5pPr>
              <a:defRPr sz="1322" baseline="0">
                <a:latin typeface="Verdana" pitchFamily="34" charset="0"/>
                <a:ea typeface="微软雅黑" pitchFamily="34" charset="-122"/>
              </a:defRPr>
            </a:lvl5pPr>
            <a:lvl6pPr>
              <a:defRPr sz="1487"/>
            </a:lvl6pPr>
            <a:lvl7pPr>
              <a:defRPr sz="1487"/>
            </a:lvl7pPr>
            <a:lvl8pPr>
              <a:defRPr sz="1487"/>
            </a:lvl8pPr>
            <a:lvl9pPr>
              <a:defRPr sz="148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74616200"/>
      </p:ext>
    </p:extLst>
  </p:cSld>
  <p:clrMapOvr>
    <a:masterClrMapping/>
  </p:clrMapOvr>
  <p:transition spd="slow">
    <p:pull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920" y="226894"/>
            <a:ext cx="9052560" cy="523852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920" y="929216"/>
            <a:ext cx="4444207" cy="528544"/>
          </a:xfrm>
        </p:spPr>
        <p:txBody>
          <a:bodyPr anchor="b"/>
          <a:lstStyle>
            <a:lvl1pPr marL="0" indent="0">
              <a:buNone/>
              <a:defRPr sz="1983" b="1"/>
            </a:lvl1pPr>
            <a:lvl2pPr marL="377739" indent="0">
              <a:buNone/>
              <a:defRPr sz="1652" b="1"/>
            </a:lvl2pPr>
            <a:lvl3pPr marL="755477" indent="0">
              <a:buNone/>
              <a:defRPr sz="1487" b="1"/>
            </a:lvl3pPr>
            <a:lvl4pPr marL="1133216" indent="0">
              <a:buNone/>
              <a:defRPr sz="1322" b="1"/>
            </a:lvl4pPr>
            <a:lvl5pPr marL="1510955" indent="0">
              <a:buNone/>
              <a:defRPr sz="1322" b="1"/>
            </a:lvl5pPr>
            <a:lvl6pPr marL="1888693" indent="0">
              <a:buNone/>
              <a:defRPr sz="1322" b="1"/>
            </a:lvl6pPr>
            <a:lvl7pPr marL="2266432" indent="0">
              <a:buNone/>
              <a:defRPr sz="1322" b="1"/>
            </a:lvl7pPr>
            <a:lvl8pPr marL="2644170" indent="0">
              <a:buNone/>
              <a:defRPr sz="1322" b="1"/>
            </a:lvl8pPr>
            <a:lvl9pPr marL="3021909" indent="0">
              <a:buNone/>
              <a:defRPr sz="132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2920" y="1457760"/>
            <a:ext cx="4444207" cy="3933202"/>
          </a:xfrm>
        </p:spPr>
        <p:txBody>
          <a:bodyPr/>
          <a:lstStyle>
            <a:lvl1pPr>
              <a:defRPr sz="1983"/>
            </a:lvl1pPr>
            <a:lvl2pPr>
              <a:defRPr sz="1652"/>
            </a:lvl2pPr>
            <a:lvl3pPr>
              <a:defRPr sz="1487"/>
            </a:lvl3pPr>
            <a:lvl4pPr>
              <a:defRPr sz="1322"/>
            </a:lvl4pPr>
            <a:lvl5pPr>
              <a:defRPr sz="1322"/>
            </a:lvl5pPr>
            <a:lvl6pPr>
              <a:defRPr sz="1322"/>
            </a:lvl6pPr>
            <a:lvl7pPr>
              <a:defRPr sz="1322"/>
            </a:lvl7pPr>
            <a:lvl8pPr>
              <a:defRPr sz="1322"/>
            </a:lvl8pPr>
            <a:lvl9pPr>
              <a:defRPr sz="132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109528" y="929216"/>
            <a:ext cx="4445953" cy="528544"/>
          </a:xfrm>
        </p:spPr>
        <p:txBody>
          <a:bodyPr anchor="b"/>
          <a:lstStyle>
            <a:lvl1pPr marL="0" indent="0">
              <a:buNone/>
              <a:defRPr sz="1983" b="1"/>
            </a:lvl1pPr>
            <a:lvl2pPr marL="377739" indent="0">
              <a:buNone/>
              <a:defRPr sz="1652" b="1"/>
            </a:lvl2pPr>
            <a:lvl3pPr marL="755477" indent="0">
              <a:buNone/>
              <a:defRPr sz="1487" b="1"/>
            </a:lvl3pPr>
            <a:lvl4pPr marL="1133216" indent="0">
              <a:buNone/>
              <a:defRPr sz="1322" b="1"/>
            </a:lvl4pPr>
            <a:lvl5pPr marL="1510955" indent="0">
              <a:buNone/>
              <a:defRPr sz="1322" b="1"/>
            </a:lvl5pPr>
            <a:lvl6pPr marL="1888693" indent="0">
              <a:buNone/>
              <a:defRPr sz="1322" b="1"/>
            </a:lvl6pPr>
            <a:lvl7pPr marL="2266432" indent="0">
              <a:buNone/>
              <a:defRPr sz="1322" b="1"/>
            </a:lvl7pPr>
            <a:lvl8pPr marL="2644170" indent="0">
              <a:buNone/>
              <a:defRPr sz="1322" b="1"/>
            </a:lvl8pPr>
            <a:lvl9pPr marL="3021909" indent="0">
              <a:buNone/>
              <a:defRPr sz="1322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109528" y="1457760"/>
            <a:ext cx="4445953" cy="3933202"/>
          </a:xfrm>
        </p:spPr>
        <p:txBody>
          <a:bodyPr/>
          <a:lstStyle>
            <a:lvl1pPr>
              <a:defRPr sz="1983"/>
            </a:lvl1pPr>
            <a:lvl2pPr>
              <a:defRPr sz="1652"/>
            </a:lvl2pPr>
            <a:lvl3pPr>
              <a:defRPr sz="1487"/>
            </a:lvl3pPr>
            <a:lvl4pPr>
              <a:defRPr sz="1322"/>
            </a:lvl4pPr>
            <a:lvl5pPr>
              <a:defRPr sz="1322"/>
            </a:lvl5pPr>
            <a:lvl6pPr>
              <a:defRPr sz="1322"/>
            </a:lvl6pPr>
            <a:lvl7pPr>
              <a:defRPr sz="1322"/>
            </a:lvl7pPr>
            <a:lvl8pPr>
              <a:defRPr sz="1322"/>
            </a:lvl8pPr>
            <a:lvl9pPr>
              <a:defRPr sz="132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154740039"/>
      </p:ext>
    </p:extLst>
  </p:cSld>
  <p:clrMapOvr>
    <a:masterClrMapping/>
  </p:clrMapOvr>
  <p:transition spd="slow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首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996413" y="1553150"/>
            <a:ext cx="8675370" cy="1095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96412" y="3192455"/>
            <a:ext cx="5442487" cy="90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dirty="0" smtClean="0"/>
              <a:t>正文文本</a:t>
            </a:r>
          </a:p>
        </p:txBody>
      </p:sp>
    </p:spTree>
    <p:extLst>
      <p:ext uri="{BB962C8B-B14F-4D97-AF65-F5344CB8AC3E}">
        <p14:creationId xmlns:p14="http://schemas.microsoft.com/office/powerpoint/2010/main" val="446866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18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1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769747"/>
      </p:ext>
    </p:extLst>
  </p:cSld>
  <p:clrMapOvr>
    <a:masterClrMapping/>
  </p:clrMapOvr>
  <p:transition spd="slow">
    <p:pull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1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026133"/>
      </p:ext>
    </p:extLst>
  </p:cSld>
  <p:clrMapOvr>
    <a:masterClrMapping/>
  </p:clrMapOvr>
  <p:transition spd="slow">
    <p:pull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2921" y="793329"/>
            <a:ext cx="3309144" cy="960036"/>
          </a:xfrm>
        </p:spPr>
        <p:txBody>
          <a:bodyPr anchor="b"/>
          <a:lstStyle>
            <a:lvl1pPr algn="l">
              <a:defRPr sz="1652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932555" y="793329"/>
            <a:ext cx="5622925" cy="4835593"/>
          </a:xfrm>
        </p:spPr>
        <p:txBody>
          <a:bodyPr/>
          <a:lstStyle>
            <a:lvl1pPr>
              <a:defRPr sz="1983"/>
            </a:lvl1pPr>
            <a:lvl2pPr>
              <a:defRPr sz="1652"/>
            </a:lvl2pPr>
            <a:lvl3pPr>
              <a:defRPr sz="1487"/>
            </a:lvl3pPr>
            <a:lvl4pPr>
              <a:defRPr sz="1322"/>
            </a:lvl4pPr>
            <a:lvl5pPr>
              <a:defRPr sz="1322"/>
            </a:lvl5pPr>
            <a:lvl6pPr>
              <a:defRPr sz="1652"/>
            </a:lvl6pPr>
            <a:lvl7pPr>
              <a:defRPr sz="1652"/>
            </a:lvl7pPr>
            <a:lvl8pPr>
              <a:defRPr sz="1652"/>
            </a:lvl8pPr>
            <a:lvl9pPr>
              <a:defRPr sz="1652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502921" y="1753365"/>
            <a:ext cx="3309144" cy="3875557"/>
          </a:xfrm>
        </p:spPr>
        <p:txBody>
          <a:bodyPr/>
          <a:lstStyle>
            <a:lvl1pPr marL="0" indent="0">
              <a:buNone/>
              <a:defRPr sz="1157"/>
            </a:lvl1pPr>
            <a:lvl2pPr marL="377739" indent="0">
              <a:buNone/>
              <a:defRPr sz="991"/>
            </a:lvl2pPr>
            <a:lvl3pPr marL="755477" indent="0">
              <a:buNone/>
              <a:defRPr sz="826"/>
            </a:lvl3pPr>
            <a:lvl4pPr marL="1133216" indent="0">
              <a:buNone/>
              <a:defRPr sz="744"/>
            </a:lvl4pPr>
            <a:lvl5pPr marL="1510955" indent="0">
              <a:buNone/>
              <a:defRPr sz="744"/>
            </a:lvl5pPr>
            <a:lvl6pPr marL="1888693" indent="0">
              <a:buNone/>
              <a:defRPr sz="744"/>
            </a:lvl6pPr>
            <a:lvl7pPr marL="2266432" indent="0">
              <a:buNone/>
              <a:defRPr sz="744"/>
            </a:lvl7pPr>
            <a:lvl8pPr marL="2644170" indent="0">
              <a:buNone/>
              <a:defRPr sz="744"/>
            </a:lvl8pPr>
            <a:lvl9pPr marL="3021909" indent="0">
              <a:buNone/>
              <a:defRPr sz="74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26331408"/>
      </p:ext>
    </p:extLst>
  </p:cSld>
  <p:clrMapOvr>
    <a:masterClrMapping/>
  </p:clrMapOvr>
  <p:transition spd="slow">
    <p:pull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71517" y="4317294"/>
            <a:ext cx="6035040" cy="468215"/>
          </a:xfrm>
        </p:spPr>
        <p:txBody>
          <a:bodyPr anchor="b"/>
          <a:lstStyle>
            <a:lvl1pPr algn="l">
              <a:defRPr sz="1652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71517" y="857491"/>
            <a:ext cx="6035040" cy="3399473"/>
          </a:xfrm>
        </p:spPr>
        <p:txBody>
          <a:bodyPr/>
          <a:lstStyle>
            <a:lvl1pPr marL="0" indent="0">
              <a:buNone/>
              <a:defRPr sz="2644"/>
            </a:lvl1pPr>
            <a:lvl2pPr marL="377739" indent="0">
              <a:buNone/>
              <a:defRPr sz="2313"/>
            </a:lvl2pPr>
            <a:lvl3pPr marL="755477" indent="0">
              <a:buNone/>
              <a:defRPr sz="1983"/>
            </a:lvl3pPr>
            <a:lvl4pPr marL="1133216" indent="0">
              <a:buNone/>
              <a:defRPr sz="1652"/>
            </a:lvl4pPr>
            <a:lvl5pPr marL="1510955" indent="0">
              <a:buNone/>
              <a:defRPr sz="1652"/>
            </a:lvl5pPr>
            <a:lvl6pPr marL="1888693" indent="0">
              <a:buNone/>
              <a:defRPr sz="1652"/>
            </a:lvl6pPr>
            <a:lvl7pPr marL="2266432" indent="0">
              <a:buNone/>
              <a:defRPr sz="1652"/>
            </a:lvl7pPr>
            <a:lvl8pPr marL="2644170" indent="0">
              <a:buNone/>
              <a:defRPr sz="1652"/>
            </a:lvl8pPr>
            <a:lvl9pPr marL="3021909" indent="0">
              <a:buNone/>
              <a:defRPr sz="1652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71517" y="4785509"/>
            <a:ext cx="6035040" cy="664943"/>
          </a:xfrm>
        </p:spPr>
        <p:txBody>
          <a:bodyPr/>
          <a:lstStyle>
            <a:lvl1pPr marL="0" indent="0">
              <a:buNone/>
              <a:defRPr sz="1157"/>
            </a:lvl1pPr>
            <a:lvl2pPr marL="377739" indent="0">
              <a:buNone/>
              <a:defRPr sz="991"/>
            </a:lvl2pPr>
            <a:lvl3pPr marL="755477" indent="0">
              <a:buNone/>
              <a:defRPr sz="826"/>
            </a:lvl3pPr>
            <a:lvl4pPr marL="1133216" indent="0">
              <a:buNone/>
              <a:defRPr sz="744"/>
            </a:lvl4pPr>
            <a:lvl5pPr marL="1510955" indent="0">
              <a:buNone/>
              <a:defRPr sz="744"/>
            </a:lvl5pPr>
            <a:lvl6pPr marL="1888693" indent="0">
              <a:buNone/>
              <a:defRPr sz="744"/>
            </a:lvl6pPr>
            <a:lvl7pPr marL="2266432" indent="0">
              <a:buNone/>
              <a:defRPr sz="744"/>
            </a:lvl7pPr>
            <a:lvl8pPr marL="2644170" indent="0">
              <a:buNone/>
              <a:defRPr sz="744"/>
            </a:lvl8pPr>
            <a:lvl9pPr marL="3021909" indent="0">
              <a:buNone/>
              <a:defRPr sz="744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48472797"/>
      </p:ext>
    </p:extLst>
  </p:cSld>
  <p:clrMapOvr>
    <a:masterClrMapping/>
  </p:clrMapOvr>
  <p:transition spd="slow">
    <p:pull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465103464"/>
      </p:ext>
    </p:extLst>
  </p:cSld>
  <p:clrMapOvr>
    <a:masterClrMapping/>
  </p:clrMapOvr>
  <p:transition spd="slow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386638" y="275421"/>
            <a:ext cx="2315528" cy="505592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4817" y="275421"/>
            <a:ext cx="6784181" cy="505592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43226890"/>
      </p:ext>
    </p:extLst>
  </p:cSld>
  <p:clrMapOvr>
    <a:masterClrMapping/>
  </p:clrMapOvr>
  <p:transition spd="slow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11"/>
          </p:nvPr>
        </p:nvSpPr>
        <p:spPr>
          <a:xfrm>
            <a:off x="314325" y="944299"/>
            <a:ext cx="9508332" cy="206565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2"/>
          </p:nvPr>
        </p:nvSpPr>
        <p:spPr>
          <a:xfrm>
            <a:off x="314325" y="3187006"/>
            <a:ext cx="9508332" cy="212467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196720577"/>
      </p:ext>
    </p:extLst>
  </p:cSld>
  <p:clrMapOvr>
    <a:masterClrMapping/>
  </p:clrMapOvr>
  <p:transition spd="slow">
    <p:pull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435089" y="1108239"/>
            <a:ext cx="9267430" cy="12485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4"/>
          </p:nvPr>
        </p:nvSpPr>
        <p:spPr>
          <a:xfrm>
            <a:off x="434817" y="2713546"/>
            <a:ext cx="9267348" cy="238041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10553502"/>
      </p:ext>
    </p:extLst>
  </p:cSld>
  <p:clrMapOvr>
    <a:masterClrMapping/>
  </p:clrMapOvr>
  <p:transition spd="slow">
    <p:pull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276761" y="5487318"/>
            <a:ext cx="1346550" cy="17847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sz="661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9606065" y="5487319"/>
            <a:ext cx="435527" cy="178469"/>
          </a:xfrm>
          <a:prstGeom prst="rect">
            <a:avLst/>
          </a:prstGeom>
        </p:spPr>
        <p:txBody>
          <a:bodyPr/>
          <a:lstStyle>
            <a:lvl1pPr>
              <a:defRPr sz="661">
                <a:latin typeface="+mn-lt"/>
              </a:defRPr>
            </a:lvl1pPr>
          </a:lstStyle>
          <a:p>
            <a:pPr>
              <a:defRPr/>
            </a:pPr>
            <a:fld id="{CFF10007-8FCC-43DC-B82D-4AE4189E914C}" type="slidenum">
              <a:rPr lang="zh-CN" alt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1" name="標題 1"/>
          <p:cNvSpPr>
            <a:spLocks noGrp="1"/>
          </p:cNvSpPr>
          <p:nvPr>
            <p:ph type="title" hasCustomPrompt="1"/>
          </p:nvPr>
        </p:nvSpPr>
        <p:spPr>
          <a:xfrm>
            <a:off x="435090" y="334316"/>
            <a:ext cx="7014304" cy="317656"/>
          </a:xfrm>
        </p:spPr>
        <p:txBody>
          <a:bodyPr/>
          <a:lstStyle>
            <a:lvl1pPr>
              <a:defRPr sz="1818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单击以编辑母片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1583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8245" y="79816"/>
            <a:ext cx="7025318" cy="406948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83829" y="741949"/>
            <a:ext cx="7028310" cy="342645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1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2016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2959" y="0"/>
            <a:ext cx="6874782" cy="99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标题 微软雅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566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" y="0"/>
            <a:ext cx="10055769" cy="566578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022959" y="0"/>
            <a:ext cx="6874782" cy="99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 dirty="0" smtClean="0"/>
              <a:t>标题 微软雅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188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尾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" y="0"/>
            <a:ext cx="10055769" cy="566578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56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1388905"/>
            <a:ext cx="4255174" cy="68068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80" b="1"/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2069586"/>
            <a:ext cx="4255174" cy="3044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5" y="1388905"/>
            <a:ext cx="4276130" cy="68068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80" b="1"/>
            </a:lvl1pPr>
            <a:lvl2pPr marL="377190" indent="0">
              <a:buNone/>
              <a:defRPr sz="1650" b="1"/>
            </a:lvl2pPr>
            <a:lvl3pPr marL="754380" indent="0">
              <a:buNone/>
              <a:defRPr sz="1485" b="1"/>
            </a:lvl3pPr>
            <a:lvl4pPr marL="1131570" indent="0">
              <a:buNone/>
              <a:defRPr sz="1320" b="1"/>
            </a:lvl4pPr>
            <a:lvl5pPr marL="1508760" indent="0">
              <a:buNone/>
              <a:defRPr sz="1320" b="1"/>
            </a:lvl5pPr>
            <a:lvl6pPr marL="1885950" indent="0">
              <a:buNone/>
              <a:defRPr sz="1320" b="1"/>
            </a:lvl6pPr>
            <a:lvl7pPr marL="2263140" indent="0">
              <a:buNone/>
              <a:defRPr sz="1320" b="1"/>
            </a:lvl7pPr>
            <a:lvl8pPr marL="2640330" indent="0">
              <a:buNone/>
              <a:defRPr sz="1320" b="1"/>
            </a:lvl8pPr>
            <a:lvl9pPr marL="3017520" indent="0">
              <a:buNone/>
              <a:defRPr sz="132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5" y="2069586"/>
            <a:ext cx="4276130" cy="30440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51206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1515" y="301651"/>
            <a:ext cx="8675370" cy="1095124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9981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352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377719"/>
            <a:ext cx="3244096" cy="1322017"/>
          </a:xfrm>
          <a:prstGeom prst="rect">
            <a:avLst/>
          </a:prstGeom>
        </p:spPr>
        <p:txBody>
          <a:bodyPr anchor="b"/>
          <a:lstStyle>
            <a:lvl1pPr>
              <a:defRPr sz="2640"/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815769"/>
            <a:ext cx="5092065" cy="4026382"/>
          </a:xfrm>
          <a:prstGeom prst="rect">
            <a:avLst/>
          </a:prstGeom>
        </p:spPr>
        <p:txBody>
          <a:bodyPr/>
          <a:lstStyle>
            <a:lvl1pPr>
              <a:defRPr sz="2640"/>
            </a:lvl1pPr>
            <a:lvl2pPr>
              <a:defRPr sz="2310"/>
            </a:lvl2pPr>
            <a:lvl3pPr>
              <a:defRPr sz="1980"/>
            </a:lvl3pPr>
            <a:lvl4pPr>
              <a:defRPr sz="1650"/>
            </a:lvl4pPr>
            <a:lvl5pPr>
              <a:defRPr sz="165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1699736"/>
            <a:ext cx="3244096" cy="3148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0"/>
            </a:lvl1pPr>
            <a:lvl2pPr marL="377190" indent="0">
              <a:buNone/>
              <a:defRPr sz="1155"/>
            </a:lvl2pPr>
            <a:lvl3pPr marL="754380" indent="0">
              <a:buNone/>
              <a:defRPr sz="990"/>
            </a:lvl3pPr>
            <a:lvl4pPr marL="1131570" indent="0">
              <a:buNone/>
              <a:defRPr sz="825"/>
            </a:lvl4pPr>
            <a:lvl5pPr marL="1508760" indent="0">
              <a:buNone/>
              <a:defRPr sz="825"/>
            </a:lvl5pPr>
            <a:lvl6pPr marL="1885950" indent="0">
              <a:buNone/>
              <a:defRPr sz="825"/>
            </a:lvl6pPr>
            <a:lvl7pPr marL="2263140" indent="0">
              <a:buNone/>
              <a:defRPr sz="825"/>
            </a:lvl7pPr>
            <a:lvl8pPr marL="2640330" indent="0">
              <a:buNone/>
              <a:defRPr sz="825"/>
            </a:lvl8pPr>
            <a:lvl9pPr marL="3017520" indent="0">
              <a:buNone/>
              <a:defRPr sz="825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9151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713A41B0-9431-4BB5-AB2A-49AE86549220}" type="datetimeFigureOut">
              <a:rPr lang="zh-CN" altLang="en-US" smtClean="0"/>
              <a:t>2024/11/21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31845" y="5251346"/>
            <a:ext cx="3394710" cy="30165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03745" y="5251346"/>
            <a:ext cx="2263140" cy="301651"/>
          </a:xfrm>
          <a:prstGeom prst="rect">
            <a:avLst/>
          </a:prstGeom>
        </p:spPr>
        <p:txBody>
          <a:bodyPr/>
          <a:lstStyle/>
          <a:p>
            <a:fld id="{1A5123CB-36C4-4C0E-940D-86BFB214063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8872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819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2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txStyles>
    <p:titleStyle>
      <a:lvl1pPr algn="l" defTabSz="754380" rtl="0" eaLnBrk="1" latinLnBrk="0" hangingPunct="1">
        <a:lnSpc>
          <a:spcPct val="90000"/>
        </a:lnSpc>
        <a:spcBef>
          <a:spcPct val="0"/>
        </a:spcBef>
        <a:buNone/>
        <a:defRPr sz="363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595" indent="-188595" algn="l" defTabSz="754380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310" kern="1200">
          <a:solidFill>
            <a:schemeClr val="tx1"/>
          </a:solidFill>
          <a:latin typeface="+mn-lt"/>
          <a:ea typeface="+mn-ea"/>
          <a:cs typeface="+mn-cs"/>
        </a:defRPr>
      </a:lvl1pPr>
      <a:lvl2pPr marL="56578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94297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32016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69735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207454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45173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82892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20611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19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157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0876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314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033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1752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4817" y="275420"/>
            <a:ext cx="7524591" cy="41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1802" y="929872"/>
            <a:ext cx="9260363" cy="4401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0" y="5351022"/>
            <a:ext cx="1005541" cy="314766"/>
          </a:xfrm>
          <a:prstGeom prst="rect">
            <a:avLst/>
          </a:prstGeom>
        </p:spPr>
        <p:txBody>
          <a:bodyPr lIns="78355" tIns="39177" rIns="78355" bIns="39177"/>
          <a:lstStyle>
            <a:lvl1pPr algn="ctr">
              <a:defRPr sz="991"/>
            </a:lvl1pPr>
          </a:lstStyle>
          <a:p>
            <a:fld id="{63D0A05F-5731-41E0-9017-6AE2E04D397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" t="7448" r="69446" b="81130"/>
          <a:stretch/>
        </p:blipFill>
        <p:spPr>
          <a:xfrm>
            <a:off x="7576457" y="102716"/>
            <a:ext cx="2319050" cy="57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106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</p:sldLayoutIdLst>
  <p:transition spd="slow">
    <p:pull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83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5pPr>
      <a:lvl6pPr marL="377739" algn="l" rtl="0" eaLnBrk="1" fontAlgn="base" hangingPunct="1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6pPr>
      <a:lvl7pPr marL="755477" algn="l" rtl="0" eaLnBrk="1" fontAlgn="base" hangingPunct="1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7pPr>
      <a:lvl8pPr marL="1133216" algn="l" rtl="0" eaLnBrk="1" fontAlgn="base" hangingPunct="1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8pPr>
      <a:lvl9pPr marL="1510955" algn="l" rtl="0" eaLnBrk="1" fontAlgn="base" hangingPunct="1">
        <a:spcBef>
          <a:spcPct val="0"/>
        </a:spcBef>
        <a:spcAft>
          <a:spcPct val="0"/>
        </a:spcAft>
        <a:defRPr sz="2148" b="1">
          <a:solidFill>
            <a:schemeClr val="tx2"/>
          </a:solidFill>
          <a:latin typeface="Arial" charset="0"/>
          <a:ea typeface="微软雅黑" pitchFamily="34" charset="-122"/>
        </a:defRPr>
      </a:lvl9pPr>
    </p:titleStyle>
    <p:bodyStyle>
      <a:lvl1pPr marL="283304" indent="-283304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n"/>
        <a:defRPr sz="1983">
          <a:solidFill>
            <a:schemeClr val="tx1"/>
          </a:solidFill>
          <a:latin typeface="Verdana" pitchFamily="34" charset="0"/>
          <a:ea typeface="微软雅黑" pitchFamily="34" charset="-122"/>
          <a:cs typeface="+mn-cs"/>
        </a:defRPr>
      </a:lvl1pPr>
      <a:lvl2pPr marL="613825" indent="-236087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p"/>
        <a:defRPr sz="1652">
          <a:solidFill>
            <a:schemeClr val="tx1"/>
          </a:solidFill>
          <a:latin typeface="Verdana" pitchFamily="34" charset="0"/>
          <a:ea typeface="微软雅黑" pitchFamily="34" charset="-122"/>
        </a:defRPr>
      </a:lvl2pPr>
      <a:lvl3pPr marL="944347" indent="-18886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Ø"/>
        <a:defRPr sz="1983">
          <a:solidFill>
            <a:schemeClr val="tx1"/>
          </a:solidFill>
          <a:latin typeface="Verdana" pitchFamily="34" charset="0"/>
          <a:ea typeface="微软雅黑" pitchFamily="34" charset="-122"/>
        </a:defRPr>
      </a:lvl3pPr>
      <a:lvl4pPr marL="1322085" indent="-18886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322">
          <a:solidFill>
            <a:schemeClr val="tx1"/>
          </a:solidFill>
          <a:latin typeface="Verdana" pitchFamily="34" charset="0"/>
          <a:ea typeface="微软雅黑" pitchFamily="34" charset="-122"/>
        </a:defRPr>
      </a:lvl4pPr>
      <a:lvl5pPr marL="1699824" indent="-18886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-"/>
        <a:defRPr sz="1157">
          <a:solidFill>
            <a:schemeClr val="tx1"/>
          </a:solidFill>
          <a:latin typeface="Verdana" pitchFamily="34" charset="0"/>
          <a:ea typeface="微软雅黑" pitchFamily="34" charset="-122"/>
        </a:defRPr>
      </a:lvl5pPr>
      <a:lvl6pPr marL="2077563" indent="-18886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-"/>
        <a:defRPr sz="1157">
          <a:solidFill>
            <a:schemeClr val="tx1"/>
          </a:solidFill>
          <a:latin typeface="+mn-lt"/>
          <a:ea typeface="+mn-ea"/>
        </a:defRPr>
      </a:lvl6pPr>
      <a:lvl7pPr marL="2455301" indent="-18886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-"/>
        <a:defRPr sz="1157">
          <a:solidFill>
            <a:schemeClr val="tx1"/>
          </a:solidFill>
          <a:latin typeface="+mn-lt"/>
          <a:ea typeface="+mn-ea"/>
        </a:defRPr>
      </a:lvl7pPr>
      <a:lvl8pPr marL="2833040" indent="-18886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-"/>
        <a:defRPr sz="1157">
          <a:solidFill>
            <a:schemeClr val="tx1"/>
          </a:solidFill>
          <a:latin typeface="+mn-lt"/>
          <a:ea typeface="+mn-ea"/>
        </a:defRPr>
      </a:lvl8pPr>
      <a:lvl9pPr marL="3210778" indent="-188869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-"/>
        <a:defRPr sz="115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1pPr>
      <a:lvl2pPr marL="377739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2pPr>
      <a:lvl3pPr marL="755477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3pPr>
      <a:lvl4pPr marL="1133216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4pPr>
      <a:lvl5pPr marL="1510955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5pPr>
      <a:lvl6pPr marL="1888693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6pPr>
      <a:lvl7pPr marL="2266432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7pPr>
      <a:lvl8pPr marL="2644170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8pPr>
      <a:lvl9pPr marL="3021909" algn="l" defTabSz="755477" rtl="0" eaLnBrk="1" latinLnBrk="0" hangingPunct="1">
        <a:defRPr sz="14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9" t="24015" r="48073" b="31441"/>
          <a:stretch/>
        </p:blipFill>
        <p:spPr>
          <a:xfrm>
            <a:off x="2750515" y="1360628"/>
            <a:ext cx="2472538" cy="252374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17" t="2969" r="2461" b="3166"/>
          <a:stretch/>
        </p:blipFill>
        <p:spPr>
          <a:xfrm>
            <a:off x="4447642" y="168250"/>
            <a:ext cx="5362041" cy="5318150"/>
          </a:xfrm>
          <a:prstGeom prst="rect">
            <a:avLst/>
          </a:prstGeom>
        </p:spPr>
      </p:pic>
      <p:sp>
        <p:nvSpPr>
          <p:cNvPr id="9" name="文本占位符 11"/>
          <p:cNvSpPr txBox="1">
            <a:spLocks/>
          </p:cNvSpPr>
          <p:nvPr/>
        </p:nvSpPr>
        <p:spPr>
          <a:xfrm>
            <a:off x="1127041" y="2070253"/>
            <a:ext cx="5067300" cy="12652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754380" rtl="0" eaLnBrk="1" latinLnBrk="0" hangingPunct="1">
              <a:lnSpc>
                <a:spcPts val="3500"/>
              </a:lnSpc>
              <a:spcBef>
                <a:spcPts val="825"/>
              </a:spcBef>
              <a:buFont typeface="Arial" panose="020B0604020202020204" pitchFamily="34" charset="0"/>
              <a:buNone/>
              <a:defRPr sz="3500" kern="10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6578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297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16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35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454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173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2892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0611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/>
              <a:t>***转正答辩</a:t>
            </a:r>
            <a:endParaRPr lang="zh-CN" altLang="en-US" sz="3600" b="1" dirty="0"/>
          </a:p>
        </p:txBody>
      </p:sp>
      <p:sp>
        <p:nvSpPr>
          <p:cNvPr id="11" name="文本占位符 11"/>
          <p:cNvSpPr txBox="1">
            <a:spLocks/>
          </p:cNvSpPr>
          <p:nvPr/>
        </p:nvSpPr>
        <p:spPr>
          <a:xfrm>
            <a:off x="996413" y="3335491"/>
            <a:ext cx="2463963" cy="55815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754380" rtl="0" eaLnBrk="1" fontAlgn="auto" latinLnBrk="0" hangingPunct="1">
              <a:lnSpc>
                <a:spcPts val="1000"/>
              </a:lnSpc>
              <a:spcBef>
                <a:spcPts val="8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kern="1000" cap="none" baseline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56578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297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016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9735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454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173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2892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06115" indent="-188595" algn="l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14270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2848870" y="1396127"/>
            <a:ext cx="4506954" cy="3373323"/>
            <a:chOff x="2740414" y="1934970"/>
            <a:chExt cx="4506954" cy="3373323"/>
          </a:xfrm>
        </p:grpSpPr>
        <p:sp>
          <p:nvSpPr>
            <p:cNvPr id="3" name="文本框 2"/>
            <p:cNvSpPr txBox="1"/>
            <p:nvPr/>
          </p:nvSpPr>
          <p:spPr>
            <a:xfrm>
              <a:off x="2740414" y="1934970"/>
              <a:ext cx="4506954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45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HANK YOU</a:t>
              </a:r>
              <a:endParaRPr lang="zh-CN" altLang="en-US" sz="4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3227309" y="2651385"/>
              <a:ext cx="3760728" cy="355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160"/>
                </a:lnSpc>
              </a:pPr>
              <a:r>
                <a:rPr lang="zh-CN" altLang="en-US" sz="1700" kern="3000" spc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乐</a:t>
              </a:r>
              <a:r>
                <a:rPr lang="zh-CN" altLang="en-US" sz="1700" kern="3000" spc="18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享安全智能生活</a:t>
              </a:r>
              <a:endParaRPr lang="zh-CN" altLang="en-US" sz="1700" kern="3000" spc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" name="组合 1"/>
            <p:cNvGrpSpPr/>
            <p:nvPr/>
          </p:nvGrpSpPr>
          <p:grpSpPr>
            <a:xfrm>
              <a:off x="3726025" y="4602459"/>
              <a:ext cx="2763295" cy="705834"/>
              <a:chOff x="3738964" y="4602459"/>
              <a:chExt cx="2763295" cy="705834"/>
            </a:xfrm>
          </p:grpSpPr>
          <p:sp>
            <p:nvSpPr>
              <p:cNvPr id="5" name="文本框 4"/>
              <p:cNvSpPr txBox="1"/>
              <p:nvPr/>
            </p:nvSpPr>
            <p:spPr>
              <a:xfrm>
                <a:off x="3738964" y="4602459"/>
                <a:ext cx="2763295" cy="374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zh-CN" altLang="en-US" sz="1200" kern="3000" spc="15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杭州萤石</a:t>
                </a:r>
                <a:r>
                  <a:rPr lang="zh-CN" altLang="en-US" sz="1200" kern="3000" spc="150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网络股份有限公司</a:t>
                </a:r>
                <a:endParaRPr lang="zh-CN" altLang="en-US" sz="1200" kern="3000" spc="1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4045244" y="4798043"/>
                <a:ext cx="1901063" cy="3744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zh-CN" altLang="en-US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浙江省杭州市滨江区阡陌路</a:t>
                </a:r>
                <a:r>
                  <a:rPr lang="en-US" altLang="zh-CN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55</a:t>
                </a:r>
                <a:r>
                  <a:rPr lang="zh-CN" altLang="en-US" sz="800" b="1" kern="3000" spc="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号</a:t>
                </a:r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4527184" y="4976920"/>
                <a:ext cx="937182" cy="3313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2160"/>
                  </a:lnSpc>
                </a:pPr>
                <a:r>
                  <a:rPr lang="en-US" altLang="zh-CN" sz="900" kern="3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www.ys7.com</a:t>
                </a:r>
                <a:endParaRPr lang="zh-CN" altLang="en-US" sz="900" kern="3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0371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22058" y="806299"/>
            <a:ext cx="6046566" cy="360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7543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b="1" dirty="0" smtClean="0"/>
              <a:t>模板说明</a:t>
            </a:r>
            <a:endParaRPr lang="zh-CN" altLang="en-US" b="1" dirty="0"/>
          </a:p>
        </p:txBody>
      </p:sp>
      <p:sp>
        <p:nvSpPr>
          <p:cNvPr id="5" name="矩形 4"/>
          <p:cNvSpPr/>
          <p:nvPr/>
        </p:nvSpPr>
        <p:spPr>
          <a:xfrm>
            <a:off x="322058" y="1440362"/>
            <a:ext cx="835292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  <a:defRPr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此模板是对展示内容的要求，格式不作要求，可自由添加页面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  <a:defRPr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建议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呈现时间控制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钟之内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聚焦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人在试用期期间的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责任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贡献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键</a:t>
            </a:r>
            <a:r>
              <a:rPr lang="zh-CN" altLang="en-US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管理人员需呈现</a:t>
            </a:r>
            <a:r>
              <a:rPr lang="zh-CN" altLang="en-US" sz="1200" dirty="0" smtClean="0"/>
              <a:t>业务</a:t>
            </a:r>
            <a:r>
              <a:rPr lang="zh-CN" altLang="en-US" sz="1200" dirty="0"/>
              <a:t>管理、团队</a:t>
            </a:r>
            <a:r>
              <a:rPr lang="zh-CN" altLang="en-US" sz="1200" dirty="0" smtClean="0"/>
              <a:t>管理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能力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AutoNum type="arabicPeriod"/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点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析业务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人存在的问题，及后续改善建议和举措。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22104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238944" y="171450"/>
            <a:ext cx="9631434" cy="1020536"/>
          </a:xfrm>
        </p:spPr>
        <p:txBody>
          <a:bodyPr>
            <a:normAutofit/>
          </a:bodyPr>
          <a:lstStyle/>
          <a:p>
            <a:r>
              <a:rPr lang="zh-CN" altLang="en-US" sz="2000" dirty="0" smtClean="0"/>
              <a:t>一、总结概述</a:t>
            </a:r>
            <a:r>
              <a:rPr lang="zh-CN" altLang="en-US" sz="1800" dirty="0" smtClean="0"/>
              <a:t>：</a:t>
            </a:r>
            <a:r>
              <a:rPr lang="en-US" altLang="zh-CN" sz="1800" dirty="0" smtClean="0"/>
              <a:t/>
            </a:r>
            <a:br>
              <a:rPr lang="en-US" altLang="zh-CN" sz="1800" dirty="0" smtClean="0"/>
            </a:br>
            <a:r>
              <a:rPr lang="en-US" altLang="zh-CN" sz="2000" dirty="0" smtClean="0"/>
              <a:t/>
            </a:r>
            <a:br>
              <a:rPr lang="en-US" altLang="zh-CN" sz="2000" dirty="0" smtClean="0"/>
            </a:br>
            <a:r>
              <a:rPr lang="zh-CN" altLang="en-US" sz="1600" dirty="0" smtClean="0">
                <a:solidFill>
                  <a:srgbClr val="C00000"/>
                </a:solidFill>
              </a:rPr>
              <a:t>试用期期间目标达成情况</a:t>
            </a:r>
            <a:endParaRPr lang="zh-CN" altLang="en-US" sz="1600" dirty="0"/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8929200"/>
              </p:ext>
            </p:extLst>
          </p:nvPr>
        </p:nvGraphicFramePr>
        <p:xfrm>
          <a:off x="808263" y="1191986"/>
          <a:ext cx="8009168" cy="3380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2292">
                  <a:extLst>
                    <a:ext uri="{9D8B030D-6E8A-4147-A177-3AD203B41FA5}">
                      <a16:colId xmlns:a16="http://schemas.microsoft.com/office/drawing/2014/main" val="2679091343"/>
                    </a:ext>
                  </a:extLst>
                </a:gridCol>
                <a:gridCol w="2002292">
                  <a:extLst>
                    <a:ext uri="{9D8B030D-6E8A-4147-A177-3AD203B41FA5}">
                      <a16:colId xmlns:a16="http://schemas.microsoft.com/office/drawing/2014/main" val="2655399853"/>
                    </a:ext>
                  </a:extLst>
                </a:gridCol>
                <a:gridCol w="2002292">
                  <a:extLst>
                    <a:ext uri="{9D8B030D-6E8A-4147-A177-3AD203B41FA5}">
                      <a16:colId xmlns:a16="http://schemas.microsoft.com/office/drawing/2014/main" val="3813774786"/>
                    </a:ext>
                  </a:extLst>
                </a:gridCol>
                <a:gridCol w="2002292">
                  <a:extLst>
                    <a:ext uri="{9D8B030D-6E8A-4147-A177-3AD203B41FA5}">
                      <a16:colId xmlns:a16="http://schemas.microsoft.com/office/drawing/2014/main" val="3678950443"/>
                    </a:ext>
                  </a:extLst>
                </a:gridCol>
              </a:tblGrid>
              <a:tr h="676003"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结果目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达成情况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过程目标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达成情况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032574"/>
                  </a:ext>
                </a:extLst>
              </a:tr>
              <a:tr h="676003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933008"/>
                  </a:ext>
                </a:extLst>
              </a:tr>
              <a:tr h="676003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1898108"/>
                  </a:ext>
                </a:extLst>
              </a:tr>
              <a:tr h="676003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9728318"/>
                  </a:ext>
                </a:extLst>
              </a:tr>
              <a:tr h="676003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87729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6621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44" y="171450"/>
            <a:ext cx="9631434" cy="1020536"/>
          </a:xfrm>
        </p:spPr>
        <p:txBody>
          <a:bodyPr>
            <a:normAutofit/>
          </a:bodyPr>
          <a:lstStyle/>
          <a:p>
            <a:r>
              <a:rPr lang="zh-CN" altLang="en-US" sz="2000" dirty="0" smtClean="0"/>
              <a:t>一、总结概述</a:t>
            </a:r>
            <a:r>
              <a:rPr lang="zh-CN" altLang="en-US" sz="1800" dirty="0" smtClean="0"/>
              <a:t>：</a:t>
            </a:r>
            <a:r>
              <a:rPr lang="en-US" altLang="zh-CN" sz="1800" dirty="0" smtClean="0"/>
              <a:t/>
            </a:r>
            <a:br>
              <a:rPr lang="en-US" altLang="zh-CN" sz="1800" dirty="0" smtClean="0"/>
            </a:br>
            <a:r>
              <a:rPr lang="en-US" altLang="zh-CN" sz="2000" dirty="0" smtClean="0"/>
              <a:t/>
            </a:r>
            <a:br>
              <a:rPr lang="en-US" altLang="zh-CN" sz="2000" dirty="0" smtClean="0"/>
            </a:br>
            <a:r>
              <a:rPr lang="zh-CN" altLang="en-US" sz="1600" dirty="0" smtClean="0">
                <a:solidFill>
                  <a:srgbClr val="C00000"/>
                </a:solidFill>
              </a:rPr>
              <a:t>总结试用期期间，在当前</a:t>
            </a:r>
            <a:r>
              <a:rPr lang="zh-CN" altLang="en-US" sz="1600" dirty="0">
                <a:solidFill>
                  <a:srgbClr val="C00000"/>
                </a:solidFill>
              </a:rPr>
              <a:t>岗位的责任承担和核心</a:t>
            </a:r>
            <a:r>
              <a:rPr lang="zh-CN" altLang="en-US" sz="1600" dirty="0" smtClean="0">
                <a:solidFill>
                  <a:srgbClr val="C00000"/>
                </a:solidFill>
              </a:rPr>
              <a:t>贡献</a:t>
            </a:r>
            <a:r>
              <a:rPr lang="zh-CN" altLang="en-US" sz="1600" dirty="0">
                <a:solidFill>
                  <a:srgbClr val="C00000"/>
                </a:solidFill>
              </a:rPr>
              <a:t>（</a:t>
            </a:r>
            <a:r>
              <a:rPr lang="zh-CN" altLang="en-US" sz="1600" dirty="0" smtClean="0"/>
              <a:t>可以从结果及过程两个维度展开来说）</a:t>
            </a:r>
            <a:endParaRPr lang="zh-CN" altLang="en-US" sz="1600" dirty="0"/>
          </a:p>
        </p:txBody>
      </p:sp>
      <p:sp>
        <p:nvSpPr>
          <p:cNvPr id="3" name="文本框 2"/>
          <p:cNvSpPr txBox="1"/>
          <p:nvPr/>
        </p:nvSpPr>
        <p:spPr>
          <a:xfrm>
            <a:off x="238944" y="3630166"/>
            <a:ext cx="8424936" cy="16619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kumimoji="1" lang="zh-CN" altLang="en-US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参考如下维度描述：</a:t>
            </a:r>
            <a:endParaRPr kumimoji="1" lang="en-US" altLang="zh-CN" sz="1100" b="1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  <a:p>
            <a:pPr>
              <a:spcAft>
                <a:spcPts val="600"/>
              </a:spcAft>
            </a:pPr>
            <a:r>
              <a:rPr kumimoji="1" lang="en-US" altLang="zh-CN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【</a:t>
            </a:r>
            <a:r>
              <a:rPr kumimoji="1" lang="zh-CN" altLang="en-US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责任承担</a:t>
            </a:r>
            <a:r>
              <a:rPr kumimoji="1" lang="en-US" altLang="zh-CN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】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如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负责</a:t>
            </a:r>
            <a:r>
              <a:rPr kumimoji="1" lang="en-US" altLang="zh-CN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XX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产品推广；负责</a:t>
            </a:r>
            <a:r>
              <a:rPr kumimoji="1" lang="en-US" altLang="zh-CN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XX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区域的项目交付</a:t>
            </a:r>
            <a:endParaRPr kumimoji="1" lang="en-US" altLang="zh-CN" sz="110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  <a:p>
            <a:pPr>
              <a:spcAft>
                <a:spcPts val="600"/>
              </a:spcAft>
            </a:pPr>
            <a:r>
              <a:rPr kumimoji="1" lang="en-US" altLang="zh-CN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【</a:t>
            </a:r>
            <a:r>
              <a:rPr kumimoji="1" lang="zh-CN" altLang="en-US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核心贡献</a:t>
            </a:r>
            <a:r>
              <a:rPr kumimoji="1" lang="en-US" altLang="zh-CN" sz="1100" b="1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】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概述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工作的完成情况，取得了哪些成果，说明个人贡献的部分</a:t>
            </a:r>
            <a:endParaRPr kumimoji="1" lang="en-US" altLang="zh-CN" sz="110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  <a:p>
            <a:pPr marL="1085850" lvl="2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kumimoji="1" lang="zh-CN" altLang="en-US" sz="11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业绩结果的达成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业务类岗位需呈现定量业务数据，如关键业绩指标达成值、达成率、增长率</a:t>
            </a:r>
            <a:endParaRPr kumimoji="1" lang="en-US" altLang="zh-CN" sz="110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  <a:p>
            <a:pPr marL="1085850" lvl="2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kumimoji="1" lang="zh-CN" altLang="en-US" sz="11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重点</a:t>
            </a:r>
            <a:r>
              <a:rPr kumimoji="1" lang="zh-CN" altLang="en-US" sz="1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工作的突破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对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业务长期发展目标的影响，如主导建立了与</a:t>
            </a:r>
            <a:r>
              <a:rPr kumimoji="1" lang="en-US" altLang="zh-CN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XX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重大客户的长期合作关系</a:t>
            </a:r>
            <a:endParaRPr kumimoji="1" lang="en-US" altLang="zh-CN" sz="11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  <a:p>
            <a:pPr marL="1085850" lvl="2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kumimoji="1" lang="zh-CN" altLang="en-US" sz="11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对组织的专业回馈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知识总结和共享、</a:t>
            </a:r>
            <a:r>
              <a:rPr kumimoji="1" lang="zh-CN" altLang="zh-CN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流程</a:t>
            </a:r>
            <a:r>
              <a:rPr kumimoji="1" lang="zh-CN" altLang="zh-CN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体系建设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和人才发展的核心成果等，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如输出了</a:t>
            </a:r>
            <a:r>
              <a:rPr kumimoji="1" lang="en-US" altLang="zh-CN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××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案例，培养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了</a:t>
            </a:r>
            <a:r>
              <a:rPr kumimoji="1" lang="en-US" altLang="zh-CN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2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名骨干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员工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，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对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项目运作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流程</a:t>
            </a:r>
            <a:r>
              <a:rPr kumimoji="1" lang="zh-CN" altLang="en-US" sz="11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实现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了</a:t>
            </a:r>
            <a:r>
              <a:rPr kumimoji="1" lang="en-US" altLang="zh-CN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××</a:t>
            </a:r>
            <a:r>
              <a:rPr kumimoji="1" lang="zh-CN" altLang="en-US" sz="11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rPr>
              <a:t>优化</a:t>
            </a:r>
            <a:endParaRPr kumimoji="1" lang="en-US" altLang="zh-CN" sz="1100" dirty="0" smtClean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03765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>
            <a:spLocks/>
          </p:cNvSpPr>
          <p:nvPr/>
        </p:nvSpPr>
        <p:spPr>
          <a:xfrm>
            <a:off x="251520" y="389921"/>
            <a:ext cx="6046566" cy="36003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二、重点任务回顾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内容占位符 2"/>
          <p:cNvSpPr txBox="1">
            <a:spLocks/>
          </p:cNvSpPr>
          <p:nvPr/>
        </p:nvSpPr>
        <p:spPr>
          <a:xfrm>
            <a:off x="467544" y="1066160"/>
            <a:ext cx="8229600" cy="11521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请举例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2~3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项关键任务，说明推进过程和核心成果，展示你具备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的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专业知识、专业能力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管理人员需呈现业务管理、团队管理能力</a:t>
            </a:r>
            <a:r>
              <a:rPr kumimoji="0" lang="zh-CN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），体现个人资源、经验</a:t>
            </a:r>
            <a:r>
              <a:rPr lang="zh-CN" altLang="en-US" sz="1200" dirty="0" smtClean="0">
                <a:solidFill>
                  <a:prstClr val="black"/>
                </a:solidFill>
              </a:rPr>
              <a:t>、能力对成果实现的影响</a:t>
            </a:r>
            <a:endParaRPr kumimoji="0" lang="en-US" altLang="zh-CN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67544" y="2439651"/>
            <a:ext cx="8424936" cy="10002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spcAft>
                <a:spcPts val="600"/>
              </a:spcAft>
              <a:defRPr kumimoji="1" sz="1200" b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楷体" panose="02010609060101010101" pitchFamily="49" charset="-122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参考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如下维</a:t>
            </a:r>
            <a:r>
              <a:rPr kumimoji="1" lang="zh-CN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度描述：</a:t>
            </a:r>
            <a:endParaRPr kumimoji="1" lang="en-US" altLang="zh-CN" sz="11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关键任务</a:t>
            </a: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一项工作或一个项目，简要介绍背景、任务目标，并说明个人在该任务中的角色</a:t>
            </a:r>
            <a:endParaRPr kumimoji="1" lang="en-US" altLang="zh-CN" sz="1100" b="0" i="0" u="none" strike="noStrike" kern="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推进过程</a:t>
            </a: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过程中有哪些挑战，自己是如何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思考的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用了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什么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方法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做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了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什么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事情，有哪些关键点</a:t>
            </a:r>
            <a:endParaRPr kumimoji="1" lang="zh-CN" altLang="en-U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kumimoji="1" lang="zh-CN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核心成果</a:t>
            </a:r>
            <a:r>
              <a:rPr kumimoji="1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工作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成果如何，</a:t>
            </a:r>
            <a:r>
              <a:rPr kumimoji="1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产生</a:t>
            </a:r>
            <a:r>
              <a:rPr kumimoji="1" lang="zh-CN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哪些价值</a:t>
            </a:r>
            <a:endParaRPr kumimoji="1" lang="en-US" altLang="zh-CN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89378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15"/>
          <p:cNvSpPr txBox="1"/>
          <p:nvPr/>
        </p:nvSpPr>
        <p:spPr>
          <a:xfrm>
            <a:off x="379875" y="452566"/>
            <a:ext cx="40125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试用期差距分析</a:t>
            </a:r>
            <a:endParaRPr lang="zh-CN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467544" y="1330226"/>
            <a:ext cx="9247956" cy="3739795"/>
            <a:chOff x="467544" y="1330226"/>
            <a:chExt cx="8173912" cy="4691062"/>
          </a:xfrm>
        </p:grpSpPr>
        <p:sp>
          <p:nvSpPr>
            <p:cNvPr id="8" name="流程图: 过程 6"/>
            <p:cNvSpPr>
              <a:spLocks noChangeArrowheads="1"/>
            </p:cNvSpPr>
            <p:nvPr/>
          </p:nvSpPr>
          <p:spPr bwMode="auto">
            <a:xfrm>
              <a:off x="745356" y="1765854"/>
              <a:ext cx="1978025" cy="529572"/>
            </a:xfrm>
            <a:prstGeom prst="flowChartProcess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流程图: 联系 5"/>
            <p:cNvSpPr>
              <a:spLocks noChangeArrowheads="1"/>
            </p:cNvSpPr>
            <p:nvPr/>
          </p:nvSpPr>
          <p:spPr bwMode="auto">
            <a:xfrm>
              <a:off x="481831" y="1774930"/>
              <a:ext cx="544513" cy="509383"/>
            </a:xfrm>
            <a:prstGeom prst="flowChartConnector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流程图: 过程 7"/>
            <p:cNvSpPr>
              <a:spLocks noChangeArrowheads="1"/>
            </p:cNvSpPr>
            <p:nvPr/>
          </p:nvSpPr>
          <p:spPr bwMode="auto">
            <a:xfrm>
              <a:off x="2861494" y="1783418"/>
              <a:ext cx="2510432" cy="891421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流程图: 过程 8"/>
            <p:cNvSpPr>
              <a:spLocks noChangeArrowheads="1"/>
            </p:cNvSpPr>
            <p:nvPr/>
          </p:nvSpPr>
          <p:spPr bwMode="auto">
            <a:xfrm>
              <a:off x="5682159" y="1777068"/>
              <a:ext cx="2959297" cy="891421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AutoShape 5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5184285" y="2056315"/>
              <a:ext cx="697297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488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488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Text Box 49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31419" y="1330226"/>
              <a:ext cx="13081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根因分析</a:t>
              </a:r>
            </a:p>
          </p:txBody>
        </p:sp>
        <p:sp>
          <p:nvSpPr>
            <p:cNvPr id="14" name="Text Box 49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39044" y="1330226"/>
              <a:ext cx="1308100" cy="38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差距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 Box 49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29884" y="1330226"/>
              <a:ext cx="1308100" cy="38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改进</a:t>
              </a:r>
              <a:r>
                <a:rPr lang="zh-CN" altLang="en-US" sz="1400" b="1" kern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举措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流程图: 过程 16"/>
            <p:cNvSpPr>
              <a:spLocks noChangeArrowheads="1"/>
            </p:cNvSpPr>
            <p:nvPr/>
          </p:nvSpPr>
          <p:spPr bwMode="auto">
            <a:xfrm>
              <a:off x="739006" y="2842213"/>
              <a:ext cx="1976438" cy="531125"/>
            </a:xfrm>
            <a:prstGeom prst="flowChartProcess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流程图: 联系 17"/>
            <p:cNvSpPr>
              <a:spLocks noChangeArrowheads="1"/>
            </p:cNvSpPr>
            <p:nvPr/>
          </p:nvSpPr>
          <p:spPr bwMode="auto">
            <a:xfrm>
              <a:off x="475481" y="2852842"/>
              <a:ext cx="542925" cy="509383"/>
            </a:xfrm>
            <a:prstGeom prst="flowChartConnector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流程图: 过程 18"/>
            <p:cNvSpPr>
              <a:spLocks noChangeArrowheads="1"/>
            </p:cNvSpPr>
            <p:nvPr/>
          </p:nvSpPr>
          <p:spPr bwMode="auto">
            <a:xfrm>
              <a:off x="2855144" y="2861330"/>
              <a:ext cx="2508944" cy="891421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流程图: 过程 19"/>
            <p:cNvSpPr>
              <a:spLocks noChangeArrowheads="1"/>
            </p:cNvSpPr>
            <p:nvPr/>
          </p:nvSpPr>
          <p:spPr bwMode="auto">
            <a:xfrm>
              <a:off x="5675809" y="2854980"/>
              <a:ext cx="2959297" cy="891421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AutoShape 5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5177144" y="3133438"/>
              <a:ext cx="697292" cy="166688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488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488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流程图: 过程 15"/>
            <p:cNvSpPr>
              <a:spLocks noChangeArrowheads="1"/>
            </p:cNvSpPr>
            <p:nvPr/>
          </p:nvSpPr>
          <p:spPr bwMode="auto">
            <a:xfrm>
              <a:off x="731069" y="3972513"/>
              <a:ext cx="1978025" cy="531125"/>
            </a:xfrm>
            <a:prstGeom prst="flowChartProcess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流程图: 联系 21"/>
            <p:cNvSpPr>
              <a:spLocks noChangeArrowheads="1"/>
            </p:cNvSpPr>
            <p:nvPr/>
          </p:nvSpPr>
          <p:spPr bwMode="auto">
            <a:xfrm>
              <a:off x="467544" y="3983142"/>
              <a:ext cx="544512" cy="509383"/>
            </a:xfrm>
            <a:prstGeom prst="flowChartConnector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流程图: 过程 22"/>
            <p:cNvSpPr>
              <a:spLocks noChangeArrowheads="1"/>
            </p:cNvSpPr>
            <p:nvPr/>
          </p:nvSpPr>
          <p:spPr bwMode="auto">
            <a:xfrm>
              <a:off x="2847206" y="3991803"/>
              <a:ext cx="2510432" cy="899186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流程图: 过程 23"/>
            <p:cNvSpPr>
              <a:spLocks noChangeArrowheads="1"/>
            </p:cNvSpPr>
            <p:nvPr/>
          </p:nvSpPr>
          <p:spPr bwMode="auto">
            <a:xfrm>
              <a:off x="5667872" y="3985417"/>
              <a:ext cx="2959298" cy="897633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AutoShape 5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170000" y="4264532"/>
              <a:ext cx="697292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488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488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流程图: 过程 25"/>
            <p:cNvSpPr>
              <a:spLocks noChangeArrowheads="1"/>
            </p:cNvSpPr>
            <p:nvPr/>
          </p:nvSpPr>
          <p:spPr bwMode="auto">
            <a:xfrm>
              <a:off x="734244" y="5104400"/>
              <a:ext cx="1978025" cy="531125"/>
            </a:xfrm>
            <a:prstGeom prst="flowChartProcess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流程图: 联系 26"/>
            <p:cNvSpPr>
              <a:spLocks noChangeArrowheads="1"/>
            </p:cNvSpPr>
            <p:nvPr/>
          </p:nvSpPr>
          <p:spPr bwMode="auto">
            <a:xfrm>
              <a:off x="470719" y="5113476"/>
              <a:ext cx="544512" cy="510937"/>
            </a:xfrm>
            <a:prstGeom prst="flowChartConnector">
              <a:avLst/>
            </a:prstGeom>
            <a:solidFill>
              <a:schemeClr val="accent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kumimoji="0" lang="zh-CN" alt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流程图: 过程 27"/>
            <p:cNvSpPr>
              <a:spLocks noChangeArrowheads="1"/>
            </p:cNvSpPr>
            <p:nvPr/>
          </p:nvSpPr>
          <p:spPr bwMode="auto">
            <a:xfrm>
              <a:off x="2850381" y="5123655"/>
              <a:ext cx="2510432" cy="897633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流程图: 过程 28"/>
            <p:cNvSpPr>
              <a:spLocks noChangeArrowheads="1"/>
            </p:cNvSpPr>
            <p:nvPr/>
          </p:nvSpPr>
          <p:spPr bwMode="auto">
            <a:xfrm>
              <a:off x="5672634" y="5115753"/>
              <a:ext cx="2957805" cy="899186"/>
            </a:xfrm>
            <a:prstGeom prst="flowChartProcess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XXX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AutoShape 5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5173175" y="5394832"/>
              <a:ext cx="697292" cy="165100"/>
            </a:xfrm>
            <a:prstGeom prst="triangle">
              <a:avLst>
                <a:gd name="adj" fmla="val 50000"/>
              </a:avLst>
            </a:pr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0" tIns="0" rIns="0" bIns="0" anchor="ctr"/>
            <a:lstStyle>
              <a:lvl1pPr marL="344488" indent="-2254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黑体" panose="02010609060101010101" pitchFamily="49" charset="-122"/>
                </a:defRPr>
              </a:lvl9pPr>
            </a:lstStyle>
            <a:p>
              <a:pPr marL="344488" marR="0" lvl="0" indent="-225425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86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07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163731"/>
              </p:ext>
            </p:extLst>
          </p:nvPr>
        </p:nvGraphicFramePr>
        <p:xfrm>
          <a:off x="633414" y="1245333"/>
          <a:ext cx="8541447" cy="3040916"/>
        </p:xfrm>
        <a:graphic>
          <a:graphicData uri="http://schemas.openxmlformats.org/drawingml/2006/table">
            <a:tbl>
              <a:tblPr/>
              <a:tblGrid>
                <a:gridCol w="5670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63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39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420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94205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664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序号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关键任务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协同部门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协同需求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问题及建议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1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示例：在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专项技术研发初期，显示器件产品研发人员介入，在一致的开发环境和开发平台下进行技术测试研发，以保证技术量产后的一致性，以避免潜在的延期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90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2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58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3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90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4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99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5</a:t>
                      </a:r>
                    </a:p>
                  </a:txBody>
                  <a:tcPr marL="7349" marR="7349" marT="7349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　</a:t>
                      </a: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L="7349" marR="7349" marT="7349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52060" y="383426"/>
            <a:ext cx="5243661" cy="416430"/>
          </a:xfrm>
        </p:spPr>
        <p:txBody>
          <a:bodyPr/>
          <a:lstStyle/>
          <a:p>
            <a:pPr defTabSz="457200" eaLnBrk="1" hangingPunct="1"/>
            <a:r>
              <a:rPr lang="zh-CN" alt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四</a:t>
            </a:r>
            <a:r>
              <a:rPr lang="zh-CN" alt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部门协同需求（如无，可删除</a:t>
            </a:r>
            <a:r>
              <a:rPr lang="zh-CN" alt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endParaRPr lang="zh-CN" altLang="en-US" sz="2000" kern="12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086717"/>
      </p:ext>
    </p:extLst>
  </p:cSld>
  <p:clrMapOvr>
    <a:masterClrMapping/>
  </p:clrMapOvr>
  <p:transition spd="slow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59229" y="306418"/>
            <a:ext cx="327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工作规划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89857" y="1064624"/>
            <a:ext cx="85246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/>
              <a:t>讲清楚对所负责业务的分析（现状、机会、差距）、下一阶段目标（含结果及过程）、策略、实现路径、核心举措等（自行展开</a:t>
            </a:r>
            <a:r>
              <a:rPr lang="en-US" altLang="zh-CN" sz="1600" dirty="0" smtClean="0"/>
              <a:t>PPT)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096001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59229" y="306418"/>
            <a:ext cx="327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正展望语</a:t>
            </a:r>
            <a:endParaRPr lang="zh-CN" alt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88070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H.bKqxakKNjJ4j397g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S13Zk980Oe8TTDb6X7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S13Zk980Oe8TTDb6X7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S13Zk980Oe8TTDb6X7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H.bKqxakKNjJ4j397g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H.bKqxakKNjJ4j397g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H.bKqxakKNjJ4j397g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X7cTWcoUKqSmGoDIdreQ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2">
      <a:majorFont>
        <a:latin typeface="微软雅黑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海康威视PPT模板-2011（微软雅黑+Vedana） - 副本">
  <a:themeElements>
    <a:clrScheme name="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4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7</TotalTime>
  <Words>563</Words>
  <Application>Microsoft Office PowerPoint</Application>
  <PresentationFormat>自定义</PresentationFormat>
  <Paragraphs>72</Paragraphs>
  <Slides>10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18" baseType="lpstr">
      <vt:lpstr>楷体</vt:lpstr>
      <vt:lpstr>微软雅黑</vt:lpstr>
      <vt:lpstr>Arial</vt:lpstr>
      <vt:lpstr>Calibri</vt:lpstr>
      <vt:lpstr>Verdana</vt:lpstr>
      <vt:lpstr>Wingdings</vt:lpstr>
      <vt:lpstr>Office 主题​​</vt:lpstr>
      <vt:lpstr>海康威视PPT模板-2011（微软雅黑+Vedana） - 副本</vt:lpstr>
      <vt:lpstr>PowerPoint 演示文稿</vt:lpstr>
      <vt:lpstr>PowerPoint 演示文稿</vt:lpstr>
      <vt:lpstr>一、总结概述：  试用期期间目标达成情况</vt:lpstr>
      <vt:lpstr>一、总结概述：  总结试用期期间，在当前岗位的责任承担和核心贡献（可以从结果及过程两个维度展开来说）</vt:lpstr>
      <vt:lpstr>PowerPoint 演示文稿</vt:lpstr>
      <vt:lpstr>PowerPoint 演示文稿</vt:lpstr>
      <vt:lpstr>四、跨部门协同需求（如无，可删除）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utoBVT</dc:creator>
  <cp:lastModifiedBy>王容13</cp:lastModifiedBy>
  <cp:revision>69</cp:revision>
  <dcterms:created xsi:type="dcterms:W3CDTF">2019-07-13T07:35:59Z</dcterms:created>
  <dcterms:modified xsi:type="dcterms:W3CDTF">2024-11-21T06:16:51Z</dcterms:modified>
</cp:coreProperties>
</file>